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2" r:id="rId1"/>
  </p:sldMasterIdLst>
  <p:notesMasterIdLst>
    <p:notesMasterId r:id="rId3"/>
  </p:notesMasterIdLst>
  <p:sldIdLst>
    <p:sldId id="257" r:id="rId2"/>
  </p:sldIdLst>
  <p:sldSz cx="6858000" cy="9144000" type="screen4x3"/>
  <p:notesSz cx="7010400" cy="92964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  <a:srgbClr val="FFD8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177" autoAdjust="0"/>
    <p:restoredTop sz="94576" autoAdjust="0"/>
  </p:normalViewPr>
  <p:slideViewPr>
    <p:cSldViewPr>
      <p:cViewPr>
        <p:scale>
          <a:sx n="60" d="100"/>
          <a:sy n="60" d="100"/>
        </p:scale>
        <p:origin x="-2088" y="114"/>
      </p:cViewPr>
      <p:guideLst>
        <p:guide orient="horz" pos="2880"/>
        <p:guide pos="42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3CBCB5B-7AA2-4D5B-8ADB-A8A5EA82CF6F}" type="datetimeFigureOut">
              <a:rPr lang="en-US" smtClean="0"/>
              <a:t>10/10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97100" y="696913"/>
            <a:ext cx="2616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8C8F97A-A9C1-4DA5-9783-2D319EAAD4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1979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8F97A-A9C1-4DA5-9783-2D319EAAD44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383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2840569"/>
            <a:ext cx="5829300" cy="196003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5181600"/>
            <a:ext cx="48006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729037" y="488951"/>
            <a:ext cx="1157288" cy="104013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7176" y="488951"/>
            <a:ext cx="3357563" cy="104013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5875867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3875620"/>
            <a:ext cx="5829300" cy="2000249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176" y="2844801"/>
            <a:ext cx="2257425" cy="804545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28901" y="2844801"/>
            <a:ext cx="2257425" cy="804545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66184"/>
            <a:ext cx="6172200" cy="1524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1" y="2046817"/>
            <a:ext cx="3030141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1" y="2899833"/>
            <a:ext cx="3030141" cy="52683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0" y="2046817"/>
            <a:ext cx="3031331" cy="85301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0" y="2899833"/>
            <a:ext cx="3031331" cy="526838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1" y="364067"/>
            <a:ext cx="2256235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8" y="364069"/>
            <a:ext cx="3833813" cy="7804151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1" y="1913469"/>
            <a:ext cx="2256235" cy="625475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6400801"/>
            <a:ext cx="4114800" cy="7556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81703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7156452"/>
            <a:ext cx="4114800" cy="10731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366184"/>
            <a:ext cx="6172200" cy="152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2133602"/>
            <a:ext cx="6172200" cy="6034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8475136"/>
            <a:ext cx="16002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524E9C-27C1-4332-8C48-89E2E69DCB81}" type="datetimeFigureOut">
              <a:rPr lang="en-US" smtClean="0"/>
              <a:pPr/>
              <a:t>10/10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8475136"/>
            <a:ext cx="21717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14900" y="8475136"/>
            <a:ext cx="16002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FB7BC5-154A-4C4F-88DB-A78C10294348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5" r:id="rId3"/>
    <p:sldLayoutId id="2147483976" r:id="rId4"/>
    <p:sldLayoutId id="2147483977" r:id="rId5"/>
    <p:sldLayoutId id="2147483978" r:id="rId6"/>
    <p:sldLayoutId id="2147483979" r:id="rId7"/>
    <p:sldLayoutId id="2147483980" r:id="rId8"/>
    <p:sldLayoutId id="2147483981" r:id="rId9"/>
    <p:sldLayoutId id="2147483982" r:id="rId10"/>
    <p:sldLayoutId id="21474839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hyperlink" Target="http://www.fabretto.org/" TargetMode="Externa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165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Box 41"/>
          <p:cNvSpPr txBox="1"/>
          <p:nvPr>
            <p:custDataLst>
              <p:tags r:id="rId3"/>
            </p:custDataLst>
          </p:nvPr>
        </p:nvSpPr>
        <p:spPr>
          <a:xfrm>
            <a:off x="142875" y="2284529"/>
            <a:ext cx="6602730" cy="1005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noAutofit/>
          </a:bodyPr>
          <a:lstStyle/>
          <a:p>
            <a:endParaRPr lang="en-US" sz="1400" dirty="0" smtClean="0"/>
          </a:p>
          <a:p>
            <a:r>
              <a:rPr lang="en-US" sz="1400" dirty="0" smtClean="0"/>
              <a:t>Organize and run the Casino Ball, which is </a:t>
            </a:r>
            <a:r>
              <a:rPr lang="en-US" sz="1400" b="1" dirty="0" smtClean="0"/>
              <a:t>spring quarter’s formal </a:t>
            </a:r>
            <a:r>
              <a:rPr lang="en-US" sz="1400" dirty="0" smtClean="0"/>
              <a:t>and has been a Kellogg tradition for ~20 years. 100% of the proceeds go to the non-profit Fabretto which is run by a Kellogg alum. For more info go to their website at </a:t>
            </a:r>
            <a:r>
              <a:rPr lang="en-US" sz="1400" dirty="0" smtClean="0">
                <a:hlinkClick r:id="rId13"/>
              </a:rPr>
              <a:t>www.fabretto.org</a:t>
            </a:r>
            <a:r>
              <a:rPr lang="en-US" sz="1400" dirty="0" smtClean="0"/>
              <a:t>. 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9" name="Rounded Rectangle 8"/>
          <p:cNvSpPr/>
          <p:nvPr>
            <p:custDataLst>
              <p:tags r:id="rId4"/>
            </p:custDataLst>
          </p:nvPr>
        </p:nvSpPr>
        <p:spPr>
          <a:xfrm>
            <a:off x="148590" y="2186465"/>
            <a:ext cx="2103120" cy="251936"/>
          </a:xfrm>
          <a:prstGeom prst="roundRect">
            <a:avLst/>
          </a:prstGeom>
          <a:solidFill>
            <a:srgbClr val="7030A0"/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/>
              <a:t>Who we are</a:t>
            </a:r>
          </a:p>
        </p:txBody>
      </p:sp>
      <p:sp>
        <p:nvSpPr>
          <p:cNvPr id="48" name="TextBox 47"/>
          <p:cNvSpPr txBox="1"/>
          <p:nvPr>
            <p:custDataLst>
              <p:tags r:id="rId5"/>
            </p:custDataLst>
          </p:nvPr>
        </p:nvSpPr>
        <p:spPr>
          <a:xfrm>
            <a:off x="142875" y="6407067"/>
            <a:ext cx="6601968" cy="23792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noAutofit/>
          </a:bodyPr>
          <a:lstStyle/>
          <a:p>
            <a:pPr>
              <a:buClr>
                <a:schemeClr val="tx2">
                  <a:lumMod val="75000"/>
                </a:schemeClr>
              </a:buClr>
              <a:buSzPct val="85000"/>
            </a:pPr>
            <a:endParaRPr kumimoji="1" lang="en-US" altLang="ja-JP" sz="1200" b="1" dirty="0" smtClean="0">
              <a:solidFill>
                <a:schemeClr val="accent6">
                  <a:lumMod val="50000"/>
                </a:schemeClr>
              </a:solidFill>
            </a:endParaRPr>
          </a:p>
          <a:p>
            <a:endParaRPr lang="en-US" sz="1400" b="1" u="sng" dirty="0" smtClean="0">
              <a:solidFill>
                <a:srgbClr val="C00000"/>
              </a:solidFill>
            </a:endParaRPr>
          </a:p>
          <a:p>
            <a:r>
              <a:rPr lang="en-US" sz="1400" b="1" u="sng" dirty="0" smtClean="0">
                <a:solidFill>
                  <a:srgbClr val="C00000"/>
                </a:solidFill>
              </a:rPr>
              <a:t>Club Kick-Off Meeting: Monday October 14</a:t>
            </a:r>
            <a:r>
              <a:rPr lang="en-US" sz="1400" b="1" u="sng" baseline="30000" dirty="0" smtClean="0">
                <a:solidFill>
                  <a:srgbClr val="C00000"/>
                </a:solidFill>
              </a:rPr>
              <a:t>th</a:t>
            </a:r>
            <a:r>
              <a:rPr lang="en-US" sz="1400" b="1" u="sng" dirty="0">
                <a:solidFill>
                  <a:srgbClr val="C00000"/>
                </a:solidFill>
              </a:rPr>
              <a:t> </a:t>
            </a:r>
            <a:r>
              <a:rPr lang="en-US" sz="1400" b="1" u="sng" dirty="0" smtClean="0">
                <a:solidFill>
                  <a:srgbClr val="C00000"/>
                </a:solidFill>
              </a:rPr>
              <a:t>12:15pm, G44</a:t>
            </a:r>
            <a:r>
              <a:rPr lang="en-US" sz="1400" dirty="0" smtClean="0"/>
              <a:t> (sign-up on Kellogg Groups)</a:t>
            </a:r>
            <a:endParaRPr lang="en-US" sz="1400" b="1" u="sng" dirty="0">
              <a:solidFill>
                <a:srgbClr val="C00000"/>
              </a:solidFill>
            </a:endParaRPr>
          </a:p>
          <a:p>
            <a:endParaRPr lang="en-US" sz="1400" b="1" u="sng" dirty="0" smtClean="0">
              <a:solidFill>
                <a:srgbClr val="C00000"/>
              </a:solidFill>
            </a:endParaRPr>
          </a:p>
          <a:p>
            <a:r>
              <a:rPr lang="en-US" sz="1400" b="1" u="sng" dirty="0" smtClean="0">
                <a:solidFill>
                  <a:srgbClr val="C00000"/>
                </a:solidFill>
              </a:rPr>
              <a:t>First Year Leadership Opportunities</a:t>
            </a:r>
          </a:p>
          <a:p>
            <a:r>
              <a:rPr lang="en-US" sz="1400" dirty="0" smtClean="0"/>
              <a:t>Directorships: Dealers, Marketing, Finance, Sponsorships/Gifts. Applications due midnight Thu 10/17, additional info forthcoming in email &amp; on web.</a:t>
            </a:r>
          </a:p>
          <a:p>
            <a:endParaRPr lang="en-US" sz="1400" dirty="0"/>
          </a:p>
          <a:p>
            <a:r>
              <a:rPr lang="en-US" sz="1400" b="1" u="sng" dirty="0" smtClean="0">
                <a:solidFill>
                  <a:srgbClr val="C00000"/>
                </a:solidFill>
              </a:rPr>
              <a:t>Questions?</a:t>
            </a:r>
            <a:endParaRPr lang="en-US" sz="1400" dirty="0" smtClean="0">
              <a:solidFill>
                <a:srgbClr val="C00000"/>
              </a:solidFill>
            </a:endParaRPr>
          </a:p>
          <a:p>
            <a:r>
              <a:rPr lang="en-US" sz="1400" dirty="0" smtClean="0"/>
              <a:t>Patrick Bowe, pbowe2014@kellogg... </a:t>
            </a:r>
          </a:p>
          <a:p>
            <a:r>
              <a:rPr lang="en-US" sz="1400" dirty="0" smtClean="0"/>
              <a:t>Sam Shepard, sshepard2014@kellogg...</a:t>
            </a:r>
          </a:p>
        </p:txBody>
      </p:sp>
      <p:pic>
        <p:nvPicPr>
          <p:cNvPr id="1058" name="Picture 1" descr="image003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61" b="51075"/>
          <a:stretch/>
        </p:blipFill>
        <p:spPr bwMode="auto">
          <a:xfrm>
            <a:off x="524170" y="105103"/>
            <a:ext cx="5686425" cy="1799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>
            <p:custDataLst>
              <p:tags r:id="rId6"/>
            </p:custDataLst>
          </p:nvPr>
        </p:nvSpPr>
        <p:spPr>
          <a:xfrm>
            <a:off x="142875" y="3603263"/>
            <a:ext cx="6602730" cy="26517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noAutofit/>
          </a:bodyPr>
          <a:lstStyle/>
          <a:p>
            <a:endParaRPr lang="en-US" sz="1400" dirty="0" smtClean="0"/>
          </a:p>
          <a:p>
            <a:r>
              <a:rPr lang="en-US" sz="1400" dirty="0"/>
              <a:t>Fabretto offers educational, health, nutrition, and community development programs that benefit more than 12,000 children. </a:t>
            </a:r>
            <a:r>
              <a:rPr lang="en-US" sz="1400" dirty="0" smtClean="0"/>
              <a:t>Their primary </a:t>
            </a:r>
            <a:r>
              <a:rPr lang="en-US" sz="1400" dirty="0"/>
              <a:t>focus is children, </a:t>
            </a:r>
            <a:r>
              <a:rPr lang="en-US" sz="1400" dirty="0" smtClean="0"/>
              <a:t>their community-based </a:t>
            </a:r>
            <a:r>
              <a:rPr lang="en-US" sz="1400" dirty="0"/>
              <a:t>approach ensures that parents, teachers, and community leaders also receive the knowledge they need to create an environment </a:t>
            </a:r>
            <a:r>
              <a:rPr lang="en-US" sz="1400" dirty="0" smtClean="0"/>
              <a:t>where </a:t>
            </a:r>
            <a:r>
              <a:rPr lang="en-US" sz="1400" dirty="0"/>
              <a:t>children can thrive. </a:t>
            </a:r>
            <a:br>
              <a:rPr lang="en-US" sz="1400" dirty="0"/>
            </a:br>
            <a:r>
              <a:rPr lang="en-US" sz="1400" dirty="0"/>
              <a:t/>
            </a:r>
            <a:br>
              <a:rPr lang="en-US" sz="1400" dirty="0"/>
            </a:br>
            <a:r>
              <a:rPr lang="en-US" sz="1400" dirty="0"/>
              <a:t>Fabretto delivers its programs to children and community members in seven community </a:t>
            </a:r>
            <a:r>
              <a:rPr lang="en-US" sz="1400" dirty="0" smtClean="0"/>
              <a:t>education centers and more than one hundred primary schools throughout Nicaragua. Fabretto </a:t>
            </a:r>
            <a:r>
              <a:rPr lang="en-US" sz="1400" dirty="0"/>
              <a:t>offers programs in five strategic areas to support </a:t>
            </a:r>
            <a:r>
              <a:rPr lang="en-US" sz="1400" b="1" dirty="0"/>
              <a:t>our mission to empower underserved children and their families in Nicaragua to reach their full potential, improve their livelihoods, and take advantage of economic opportunity through education and nutrition. 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27" name="Rounded Rectangle 26"/>
          <p:cNvSpPr/>
          <p:nvPr>
            <p:custDataLst>
              <p:tags r:id="rId7"/>
            </p:custDataLst>
          </p:nvPr>
        </p:nvSpPr>
        <p:spPr>
          <a:xfrm>
            <a:off x="148590" y="3505200"/>
            <a:ext cx="2103120" cy="251936"/>
          </a:xfrm>
          <a:prstGeom prst="roundRect">
            <a:avLst/>
          </a:prstGeom>
          <a:solidFill>
            <a:srgbClr val="7030A0"/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/>
              <a:t>What Fabretto Does</a:t>
            </a:r>
          </a:p>
        </p:txBody>
      </p:sp>
      <p:sp>
        <p:nvSpPr>
          <p:cNvPr id="46" name="Rounded Rectangle 45"/>
          <p:cNvSpPr/>
          <p:nvPr>
            <p:custDataLst>
              <p:tags r:id="rId8"/>
            </p:custDataLst>
          </p:nvPr>
        </p:nvSpPr>
        <p:spPr>
          <a:xfrm>
            <a:off x="110490" y="6347935"/>
            <a:ext cx="2103120" cy="294716"/>
          </a:xfrm>
          <a:prstGeom prst="roundRect">
            <a:avLst/>
          </a:prstGeom>
          <a:solidFill>
            <a:srgbClr val="7030A0"/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/>
              <a:t>Get Involved</a:t>
            </a:r>
            <a:endParaRPr lang="en-US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mS8ZXuAkG_opwoJ6aK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bat6UGdkioGi1YOeSq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TxiC2qaUK2aoT42pm.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mS8ZXuAkG_opwoJ6aK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bat6UGdkioGi1YOeSq8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PBOe4PWkSmbSnR.uP2_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50</TotalTime>
  <Words>169</Words>
  <Application>Microsoft Office PowerPoint</Application>
  <PresentationFormat>On-screen Show (4:3)</PresentationFormat>
  <Paragraphs>18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chard Choi Bucket Technology Representative</dc:title>
  <dc:creator>Richard</dc:creator>
  <cp:lastModifiedBy>Patrick Bowe</cp:lastModifiedBy>
  <cp:revision>93</cp:revision>
  <cp:lastPrinted>2013-09-19T21:46:43Z</cp:lastPrinted>
  <dcterms:created xsi:type="dcterms:W3CDTF">2010-09-24T04:12:55Z</dcterms:created>
  <dcterms:modified xsi:type="dcterms:W3CDTF">2013-10-11T01:40:11Z</dcterms:modified>
</cp:coreProperties>
</file>